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9" r:id="rId1"/>
  </p:sldMasterIdLst>
  <p:notesMasterIdLst>
    <p:notesMasterId r:id="rId29"/>
  </p:notesMasterIdLst>
  <p:handoutMasterIdLst>
    <p:handoutMasterId r:id="rId30"/>
  </p:handoutMasterIdLst>
  <p:sldIdLst>
    <p:sldId id="970" r:id="rId2"/>
    <p:sldId id="979" r:id="rId3"/>
    <p:sldId id="967" r:id="rId4"/>
    <p:sldId id="968" r:id="rId5"/>
    <p:sldId id="982" r:id="rId6"/>
    <p:sldId id="983" r:id="rId7"/>
    <p:sldId id="969" r:id="rId8"/>
    <p:sldId id="966" r:id="rId9"/>
    <p:sldId id="939" r:id="rId10"/>
    <p:sldId id="940" r:id="rId11"/>
    <p:sldId id="941" r:id="rId12"/>
    <p:sldId id="943" r:id="rId13"/>
    <p:sldId id="944" r:id="rId14"/>
    <p:sldId id="945" r:id="rId15"/>
    <p:sldId id="947" r:id="rId16"/>
    <p:sldId id="948" r:id="rId17"/>
    <p:sldId id="949" r:id="rId18"/>
    <p:sldId id="960" r:id="rId19"/>
    <p:sldId id="954" r:id="rId20"/>
    <p:sldId id="958" r:id="rId21"/>
    <p:sldId id="977" r:id="rId22"/>
    <p:sldId id="981" r:id="rId23"/>
    <p:sldId id="980" r:id="rId24"/>
    <p:sldId id="978" r:id="rId25"/>
    <p:sldId id="957" r:id="rId26"/>
    <p:sldId id="925" r:id="rId27"/>
    <p:sldId id="961" r:id="rId28"/>
  </p:sldIdLst>
  <p:sldSz cx="9144000" cy="6858000" type="screen4x3"/>
  <p:notesSz cx="9926638" cy="6797675"/>
  <p:custDataLst>
    <p:tags r:id="rId31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AEC9FBF-7566-48B8-A8EF-EF4D13BC93E1}">
          <p14:sldIdLst>
            <p14:sldId id="970"/>
            <p14:sldId id="979"/>
            <p14:sldId id="967"/>
            <p14:sldId id="968"/>
            <p14:sldId id="982"/>
            <p14:sldId id="983"/>
            <p14:sldId id="969"/>
            <p14:sldId id="966"/>
            <p14:sldId id="939"/>
            <p14:sldId id="940"/>
            <p14:sldId id="941"/>
            <p14:sldId id="943"/>
            <p14:sldId id="944"/>
            <p14:sldId id="945"/>
            <p14:sldId id="947"/>
            <p14:sldId id="948"/>
            <p14:sldId id="949"/>
            <p14:sldId id="960"/>
            <p14:sldId id="954"/>
            <p14:sldId id="958"/>
            <p14:sldId id="977"/>
            <p14:sldId id="981"/>
            <p14:sldId id="980"/>
            <p14:sldId id="978"/>
            <p14:sldId id="957"/>
            <p14:sldId id="925"/>
            <p14:sldId id="961"/>
          </p14:sldIdLst>
        </p14:section>
      </p14:sectionLst>
    </p:ext>
    <p:ext uri="{EFAFB233-063F-42B5-8137-9DF3F51BA10A}">
      <p15:sldGuideLst xmlns="" xmlns:p15="http://schemas.microsoft.com/office/powerpoint/2012/main">
        <p15:guide id="3" orient="horz" pos="731" userDrawn="1">
          <p15:clr>
            <a:srgbClr val="A4A3A4"/>
          </p15:clr>
        </p15:guide>
        <p15:guide id="4" pos="5375" userDrawn="1">
          <p15:clr>
            <a:srgbClr val="A4A3A4"/>
          </p15:clr>
        </p15:guide>
        <p15:guide id="5" pos="340" userDrawn="1">
          <p15:clr>
            <a:srgbClr val="A4A3A4"/>
          </p15:clr>
        </p15:guide>
        <p15:guide id="9" orient="horz" pos="3952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8F45C7"/>
    <a:srgbClr val="0083E6"/>
    <a:srgbClr val="0056B4"/>
    <a:srgbClr val="004086"/>
    <a:srgbClr val="E6E6E6"/>
    <a:srgbClr val="00B050"/>
    <a:srgbClr val="0061CC"/>
    <a:srgbClr val="005FC8"/>
    <a:srgbClr val="003064"/>
    <a:srgbClr val="5525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Світлий стиль 2 –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93" autoAdjust="0"/>
    <p:restoredTop sz="95147" autoAdjust="0"/>
  </p:normalViewPr>
  <p:slideViewPr>
    <p:cSldViewPr snapToGrid="0">
      <p:cViewPr>
        <p:scale>
          <a:sx n="110" d="100"/>
          <a:sy n="110" d="100"/>
        </p:scale>
        <p:origin x="-1920" y="-240"/>
      </p:cViewPr>
      <p:guideLst>
        <p:guide orient="horz" pos="731"/>
        <p:guide orient="horz" pos="3952"/>
        <p:guide pos="5375"/>
        <p:guide pos="340"/>
      </p:guideLst>
    </p:cSldViewPr>
  </p:slideViewPr>
  <p:notesTextViewPr>
    <p:cViewPr>
      <p:scale>
        <a:sx n="150" d="100"/>
        <a:sy n="150" d="100"/>
      </p:scale>
      <p:origin x="0" y="0"/>
    </p:cViewPr>
  </p:notesTextViewPr>
  <p:notesViewPr>
    <p:cSldViewPr snapToGrid="0" showGuides="1">
      <p:cViewPr varScale="1">
        <p:scale>
          <a:sx n="61" d="100"/>
          <a:sy n="61" d="100"/>
        </p:scale>
        <p:origin x="3168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F5238CE-0477-49FC-B4E0-CB4AEB52BE4B}" type="datetimeFigureOut">
              <a:rPr lang="ru-RU"/>
              <a:pPr>
                <a:defRPr/>
              </a:pPr>
              <a:t>05.04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A01504C-C451-4587-B700-D5A03524EE7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749044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C05F505-FAE2-4358-BFD1-88B38C272B8B}" type="datetimeFigureOut">
              <a:rPr lang="ru-RU"/>
              <a:pPr>
                <a:defRPr/>
              </a:pPr>
              <a:t>05.04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263900" y="509588"/>
            <a:ext cx="339883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664" y="3228896"/>
            <a:ext cx="7941310" cy="305895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2ED2226-2012-4460-A582-2E27BC159D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214637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kumimoji="0" lang="uk-UA" dirty="0" smtClean="0">
              <a:cs typeface="Arial" charset="0"/>
            </a:endParaRPr>
          </a:p>
        </p:txBody>
      </p:sp>
      <p:sp>
        <p:nvSpPr>
          <p:cNvPr id="3891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6242CC4-28B8-4913-BA94-4479EAA629FA}" type="slidenum">
              <a:rPr lang="ru-RU">
                <a:latin typeface="Calibri" pitchFamily="34" charset="0"/>
              </a:rPr>
              <a:pPr eaLnBrk="1" hangingPunct="1"/>
              <a:t>4</a:t>
            </a:fld>
            <a:endParaRPr lang="ru-RU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613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131341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805284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963509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L:\my docs\фриланс\презентации\Артамонов Руслан\руслан\Summa presentation 09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25" y="115888"/>
            <a:ext cx="9207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 userDrawn="1"/>
        </p:nvSpPr>
        <p:spPr>
          <a:xfrm>
            <a:off x="0" y="6464300"/>
            <a:ext cx="9144000" cy="288925"/>
          </a:xfrm>
          <a:prstGeom prst="rect">
            <a:avLst/>
          </a:prstGeom>
          <a:gradFill>
            <a:gsLst>
              <a:gs pos="0">
                <a:srgbClr val="234680"/>
              </a:gs>
              <a:gs pos="40000">
                <a:srgbClr val="6D85AB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5" name="Subtitle 2"/>
          <p:cNvSpPr txBox="1">
            <a:spLocks/>
          </p:cNvSpPr>
          <p:nvPr userDrawn="1"/>
        </p:nvSpPr>
        <p:spPr bwMode="auto">
          <a:xfrm>
            <a:off x="0" y="6484938"/>
            <a:ext cx="91440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20000"/>
              </a:spcBef>
              <a:defRPr/>
            </a:pPr>
            <a:r>
              <a:rPr kumimoji="0" lang="ru-RU" sz="1000" dirty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Высшая школа экономики, Москва, 2017</a:t>
            </a:r>
            <a:endParaRPr lang="ru-RU" sz="1000" dirty="0">
              <a:solidFill>
                <a:schemeClr val="bg1"/>
              </a:solidFill>
              <a:latin typeface="Myriad Pro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24535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204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 userDrawn="1"/>
        </p:nvSpPr>
        <p:spPr>
          <a:xfrm>
            <a:off x="0" y="6464300"/>
            <a:ext cx="9144000" cy="288925"/>
          </a:xfrm>
          <a:prstGeom prst="rect">
            <a:avLst/>
          </a:prstGeom>
          <a:gradFill>
            <a:gsLst>
              <a:gs pos="0">
                <a:srgbClr val="234680"/>
              </a:gs>
              <a:gs pos="40000">
                <a:srgbClr val="6D85AB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" name="Picture 2" descr="L:\my docs\фриланс\презентации\Артамонов Руслан\руслан\Summa presentation 09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05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900113" y="1588"/>
            <a:ext cx="0" cy="70167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88" y="58738"/>
            <a:ext cx="579437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ubtitle 2"/>
          <p:cNvSpPr txBox="1">
            <a:spLocks/>
          </p:cNvSpPr>
          <p:nvPr userDrawn="1"/>
        </p:nvSpPr>
        <p:spPr bwMode="auto">
          <a:xfrm>
            <a:off x="120650" y="6484938"/>
            <a:ext cx="41433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20000"/>
              </a:spcBef>
              <a:defRPr/>
            </a:pPr>
            <a:r>
              <a:rPr kumimoji="0" lang="ru-RU" sz="1000" dirty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Высшая школа экономики, Москва, 2017</a:t>
            </a:r>
            <a:endParaRPr lang="ru-RU" sz="1000" dirty="0">
              <a:solidFill>
                <a:schemeClr val="bg1"/>
              </a:solidFill>
              <a:latin typeface="Myriad Pro" pitchFamily="34" charset="0"/>
              <a:ea typeface="MS PGothic" pitchFamily="34" charset="-128"/>
            </a:endParaRP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0"/>
          </p:nvPr>
        </p:nvSpPr>
        <p:spPr>
          <a:xfrm>
            <a:off x="971426" y="178346"/>
            <a:ext cx="7993062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baseline="0">
                <a:solidFill>
                  <a:schemeClr val="bg1"/>
                </a:solidFill>
                <a:latin typeface="Myriad Pro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84521" y="6412335"/>
            <a:ext cx="2057400" cy="365125"/>
          </a:xfrm>
        </p:spPr>
        <p:txBody>
          <a:bodyPr/>
          <a:lstStyle>
            <a:lvl1pPr>
              <a:defRPr sz="1400">
                <a:solidFill>
                  <a:srgbClr val="00448E"/>
                </a:solidFill>
                <a:latin typeface="+mn-lt"/>
              </a:defRPr>
            </a:lvl1pPr>
          </a:lstStyle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65740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6464300"/>
            <a:ext cx="9144000" cy="288925"/>
          </a:xfrm>
          <a:prstGeom prst="rect">
            <a:avLst/>
          </a:prstGeom>
          <a:gradFill>
            <a:gsLst>
              <a:gs pos="0">
                <a:srgbClr val="234680"/>
              </a:gs>
              <a:gs pos="40000">
                <a:srgbClr val="6D85AB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" name="Picture 2" descr="L:\my docs\фриланс\презентации\Артамонов Руслан\руслан\Summa presentation 09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05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900113" y="1588"/>
            <a:ext cx="0" cy="70167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88" y="58738"/>
            <a:ext cx="579437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ubtitle 2"/>
          <p:cNvSpPr txBox="1">
            <a:spLocks/>
          </p:cNvSpPr>
          <p:nvPr userDrawn="1"/>
        </p:nvSpPr>
        <p:spPr bwMode="auto">
          <a:xfrm>
            <a:off x="120650" y="6484938"/>
            <a:ext cx="41433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20000"/>
              </a:spcBef>
              <a:defRPr/>
            </a:pPr>
            <a:r>
              <a:rPr kumimoji="0" lang="ru-RU" sz="1000" dirty="0" smtClean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Высшая школа экономики, Москва, 2016</a:t>
            </a:r>
            <a:endParaRPr lang="ru-RU" sz="1000" dirty="0" smtClean="0">
              <a:solidFill>
                <a:schemeClr val="bg1"/>
              </a:solidFill>
              <a:latin typeface="Myriad Pro" pitchFamily="34" charset="0"/>
              <a:ea typeface="MS PGothic" pitchFamily="34" charset="-128"/>
            </a:endParaRP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0"/>
          </p:nvPr>
        </p:nvSpPr>
        <p:spPr>
          <a:xfrm>
            <a:off x="971426" y="178346"/>
            <a:ext cx="7993062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baseline="0">
                <a:solidFill>
                  <a:schemeClr val="bg1"/>
                </a:solidFill>
                <a:latin typeface="Myriad Pro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8489328" y="6464300"/>
            <a:ext cx="432048" cy="216024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="0" baseline="0">
                <a:solidFill>
                  <a:srgbClr val="003F82"/>
                </a:solidFill>
                <a:latin typeface="Myriad Pro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740512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6464300"/>
            <a:ext cx="9144000" cy="288925"/>
          </a:xfrm>
          <a:prstGeom prst="rect">
            <a:avLst/>
          </a:prstGeom>
          <a:gradFill>
            <a:gsLst>
              <a:gs pos="0">
                <a:srgbClr val="234680"/>
              </a:gs>
              <a:gs pos="40000">
                <a:srgbClr val="6D85AB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" name="Picture 2" descr="L:\my docs\фриланс\презентации\Артамонов Руслан\руслан\Summa presentation 09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05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900113" y="1588"/>
            <a:ext cx="0" cy="70167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88" y="58738"/>
            <a:ext cx="579437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ubtitle 2"/>
          <p:cNvSpPr txBox="1">
            <a:spLocks/>
          </p:cNvSpPr>
          <p:nvPr userDrawn="1"/>
        </p:nvSpPr>
        <p:spPr bwMode="auto">
          <a:xfrm>
            <a:off x="120650" y="6484938"/>
            <a:ext cx="41433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20000"/>
              </a:spcBef>
              <a:defRPr/>
            </a:pPr>
            <a:r>
              <a:rPr kumimoji="0" lang="ru-RU" sz="1000" dirty="0" smtClean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Высшая школа экономики, Москва, 2016</a:t>
            </a:r>
            <a:endParaRPr lang="ru-RU" sz="1000" dirty="0" smtClean="0">
              <a:solidFill>
                <a:schemeClr val="bg1"/>
              </a:solidFill>
              <a:latin typeface="Myriad Pro" pitchFamily="34" charset="0"/>
              <a:ea typeface="MS PGothic" pitchFamily="34" charset="-128"/>
            </a:endParaRP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0"/>
          </p:nvPr>
        </p:nvSpPr>
        <p:spPr>
          <a:xfrm>
            <a:off x="971426" y="178346"/>
            <a:ext cx="7993062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baseline="0">
                <a:solidFill>
                  <a:schemeClr val="bg1"/>
                </a:solidFill>
                <a:latin typeface="Myriad Pro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8489328" y="6464300"/>
            <a:ext cx="432048" cy="216024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="0" baseline="0">
                <a:solidFill>
                  <a:srgbClr val="003F82"/>
                </a:solidFill>
                <a:latin typeface="Myriad Pro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270518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6464300"/>
            <a:ext cx="9144000" cy="288925"/>
          </a:xfrm>
          <a:prstGeom prst="rect">
            <a:avLst/>
          </a:prstGeom>
          <a:gradFill>
            <a:gsLst>
              <a:gs pos="0">
                <a:srgbClr val="234680"/>
              </a:gs>
              <a:gs pos="40000">
                <a:srgbClr val="6D85AB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" name="Picture 2" descr="L:\my docs\фриланс\презентации\Артамонов Руслан\руслан\Summa presentation 09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05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900113" y="1588"/>
            <a:ext cx="0" cy="701675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88" y="58738"/>
            <a:ext cx="579437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ubtitle 2"/>
          <p:cNvSpPr txBox="1">
            <a:spLocks/>
          </p:cNvSpPr>
          <p:nvPr userDrawn="1"/>
        </p:nvSpPr>
        <p:spPr bwMode="auto">
          <a:xfrm>
            <a:off x="120650" y="6484938"/>
            <a:ext cx="41433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20000"/>
              </a:spcBef>
              <a:defRPr/>
            </a:pPr>
            <a:r>
              <a:rPr kumimoji="0" lang="ru-RU" sz="1000" dirty="0" smtClean="0">
                <a:solidFill>
                  <a:schemeClr val="bg1"/>
                </a:solidFill>
                <a:latin typeface="Calibri" pitchFamily="34" charset="0"/>
                <a:ea typeface="MS PGothic" pitchFamily="34" charset="-128"/>
              </a:rPr>
              <a:t>Высшая школа экономики, Москва, 2016</a:t>
            </a:r>
            <a:endParaRPr lang="ru-RU" sz="1000" dirty="0" smtClean="0">
              <a:solidFill>
                <a:schemeClr val="bg1"/>
              </a:solidFill>
              <a:latin typeface="Myriad Pro" pitchFamily="34" charset="0"/>
              <a:ea typeface="MS PGothic" pitchFamily="34" charset="-128"/>
            </a:endParaRP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0"/>
          </p:nvPr>
        </p:nvSpPr>
        <p:spPr>
          <a:xfrm>
            <a:off x="971426" y="178346"/>
            <a:ext cx="7993062" cy="514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baseline="0">
                <a:solidFill>
                  <a:schemeClr val="bg1"/>
                </a:solidFill>
                <a:latin typeface="Myriad Pro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8489328" y="6464300"/>
            <a:ext cx="432048" cy="216024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 b="0" baseline="0">
                <a:solidFill>
                  <a:srgbClr val="003F82"/>
                </a:solidFill>
                <a:latin typeface="Myriad Pro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03135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576435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937439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69125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016663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018079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69283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939151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44951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165426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7784C0-E3CF-4AB1-AD59-B2545151144D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33270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7" Type="http://schemas.openxmlformats.org/officeDocument/2006/relationships/image" Target="../media/image12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293896" y="2458556"/>
            <a:ext cx="638894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4086"/>
                </a:solidFill>
              </a:rPr>
              <a:t>ПРАВОВОЕ </a:t>
            </a:r>
            <a:r>
              <a:rPr lang="ru-RU" sz="2400" b="1" dirty="0">
                <a:solidFill>
                  <a:srgbClr val="004086"/>
                </a:solidFill>
              </a:rPr>
              <a:t>ОБЕСПЕЧЕНИЕ РАЗРАБОТКИ СИСТЕМЫ ЭКОЛОГИЧЕСКОЙ ИНФОРМАЦИИ В РОССИИ (ЭКСПЕРТНО-АНАЛИТИЧЕСКАЯ ПРОРАБОТКА ПРОЕКТА ФЕДЕРАЛЬНОГО ЗАКОНА «ОБ ЭКОЛОГИЧЕСКОЙ ИНФОРМАЦИИ»)</a:t>
            </a:r>
            <a:endParaRPr lang="uk-UA" sz="2400" b="1" dirty="0">
              <a:solidFill>
                <a:srgbClr val="004086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483992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971426" y="121785"/>
            <a:ext cx="7993062" cy="514350"/>
          </a:xfrm>
        </p:spPr>
        <p:txBody>
          <a:bodyPr>
            <a:noAutofit/>
          </a:bodyPr>
          <a:lstStyle/>
          <a:p>
            <a:r>
              <a:rPr lang="ru-RU" sz="1600" dirty="0"/>
              <a:t>Общие </a:t>
            </a:r>
            <a:r>
              <a:rPr lang="ru-RU" sz="1600" dirty="0" smtClean="0"/>
              <a:t>характеристики </a:t>
            </a:r>
            <a:r>
              <a:rPr lang="ru-RU" sz="1600" dirty="0"/>
              <a:t>систем экологического мониторинга и информирования на примере опыта Великобритании, Канады и Австрал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10</a:t>
            </a:fld>
            <a:endParaRPr lang="uk-UA" dirty="0"/>
          </a:p>
        </p:txBody>
      </p:sp>
      <p:sp>
        <p:nvSpPr>
          <p:cNvPr id="4" name="Блок-схема: решение 3"/>
          <p:cNvSpPr/>
          <p:nvPr/>
        </p:nvSpPr>
        <p:spPr>
          <a:xfrm>
            <a:off x="716083" y="1370277"/>
            <a:ext cx="435001" cy="435001"/>
          </a:xfrm>
          <a:prstGeom prst="flowChartDecision">
            <a:avLst/>
          </a:prstGeom>
          <a:solidFill>
            <a:srgbClr val="00408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400" dirty="0" smtClean="0">
                <a:sym typeface="Wingdings" panose="05000000000000000000" pitchFamily="2" charset="2"/>
              </a:rPr>
              <a:t></a:t>
            </a:r>
            <a:endParaRPr lang="uk-UA" sz="1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291336" y="1345192"/>
            <a:ext cx="7241477" cy="55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теграция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аправлений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экологического мониторинга и информирования внутри администрирующего ведомства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39750" y="1981737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Блок-схема: решение 28"/>
          <p:cNvSpPr/>
          <p:nvPr/>
        </p:nvSpPr>
        <p:spPr>
          <a:xfrm>
            <a:off x="713177" y="2122511"/>
            <a:ext cx="435001" cy="435001"/>
          </a:xfrm>
          <a:prstGeom prst="flowChartDecision">
            <a:avLst/>
          </a:prstGeom>
          <a:solidFill>
            <a:srgbClr val="00408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400" dirty="0" smtClean="0">
                <a:sym typeface="Wingdings" panose="05000000000000000000" pitchFamily="2" charset="2"/>
              </a:rPr>
              <a:t></a:t>
            </a:r>
            <a:endParaRPr lang="uk-UA" sz="14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1291336" y="2090899"/>
            <a:ext cx="7241477" cy="55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Библиотека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ткрытых данных по всем направлениям экологического мониторинга и ее интеграция с национальным порталом открытых данных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539750" y="2795730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Блок-схема: решение 32"/>
          <p:cNvSpPr/>
          <p:nvPr/>
        </p:nvSpPr>
        <p:spPr>
          <a:xfrm>
            <a:off x="748114" y="2949645"/>
            <a:ext cx="435001" cy="435001"/>
          </a:xfrm>
          <a:prstGeom prst="flowChartDecision">
            <a:avLst/>
          </a:prstGeom>
          <a:solidFill>
            <a:srgbClr val="00408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400" dirty="0" smtClean="0">
                <a:sym typeface="Wingdings" panose="05000000000000000000" pitchFamily="2" charset="2"/>
              </a:rPr>
              <a:t></a:t>
            </a:r>
            <a:endParaRPr lang="uk-UA" sz="1400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1323368" y="2880310"/>
            <a:ext cx="7241477" cy="55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струменты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терактивной визуализации данных экологического мониторинга на электронных картах, в виде графиков и гистограмм, в виде таблиц данных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566562" y="3595054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Блок-схема: решение 37"/>
          <p:cNvSpPr/>
          <p:nvPr/>
        </p:nvSpPr>
        <p:spPr>
          <a:xfrm>
            <a:off x="745208" y="3709724"/>
            <a:ext cx="435001" cy="435001"/>
          </a:xfrm>
          <a:prstGeom prst="flowChartDecision">
            <a:avLst/>
          </a:prstGeom>
          <a:solidFill>
            <a:srgbClr val="00408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400" dirty="0" smtClean="0">
                <a:sym typeface="Wingdings" panose="05000000000000000000" pitchFamily="2" charset="2"/>
              </a:rPr>
              <a:t></a:t>
            </a:r>
            <a:endParaRPr lang="uk-UA" sz="1400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1323368" y="3764167"/>
            <a:ext cx="7241477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теграция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данных экологического мониторинга на всех уровнях управления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539750" y="4304462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Блок-схема: решение 42"/>
          <p:cNvSpPr/>
          <p:nvPr/>
        </p:nvSpPr>
        <p:spPr>
          <a:xfrm>
            <a:off x="748992" y="4516198"/>
            <a:ext cx="435001" cy="435001"/>
          </a:xfrm>
          <a:prstGeom prst="flowChartDecision">
            <a:avLst/>
          </a:prstGeom>
          <a:solidFill>
            <a:srgbClr val="00408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400" dirty="0" smtClean="0">
                <a:sym typeface="Wingdings" panose="05000000000000000000" pitchFamily="2" charset="2"/>
              </a:rPr>
              <a:t></a:t>
            </a:r>
            <a:endParaRPr lang="uk-UA" sz="1400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1291336" y="4451698"/>
            <a:ext cx="7241477" cy="783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пециальное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егулирование области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экологического мониторинга и информирования (принят закон о защите окружающей среды, назначено ответственное и координирующее ведомство)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566562" y="5364067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Блок-схема: решение 47"/>
          <p:cNvSpPr/>
          <p:nvPr/>
        </p:nvSpPr>
        <p:spPr>
          <a:xfrm>
            <a:off x="781024" y="5549037"/>
            <a:ext cx="435001" cy="435001"/>
          </a:xfrm>
          <a:prstGeom prst="flowChartDecision">
            <a:avLst/>
          </a:prstGeom>
          <a:solidFill>
            <a:srgbClr val="00408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400" dirty="0" smtClean="0">
                <a:sym typeface="Wingdings" panose="05000000000000000000" pitchFamily="2" charset="2"/>
              </a:rPr>
              <a:t></a:t>
            </a:r>
            <a:endParaRPr lang="uk-UA" sz="1400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1323368" y="5484537"/>
            <a:ext cx="7241477" cy="543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ткрытость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е только данных, но и методик расчета показателей экологического мониторинга, обратной связи с гражданами 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10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4207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Рекомендации для Росс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11</a:t>
            </a:fld>
            <a:endParaRPr lang="uk-UA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442" y="2870852"/>
            <a:ext cx="2750774" cy="275949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502629" y="1922340"/>
            <a:ext cx="1530721" cy="783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аскрывать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данные об экологии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45404" y="2092255"/>
            <a:ext cx="1530802" cy="1465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влекать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еферентные группы в дискуссию на основе данных об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экологии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20159" y="4630453"/>
            <a:ext cx="1815651" cy="1705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едставлять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данные об экологии в удобном для восприятия широкими референтными группами формате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379452" y="2448903"/>
            <a:ext cx="1968630" cy="1014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здавать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добные и понятные информационные ресурсы 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379453" y="5025621"/>
            <a:ext cx="2153360" cy="1014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тимулировать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артнерство с бизнесом и инновационными компаниями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7" name="Соединительная линия уступом 16"/>
          <p:cNvCxnSpPr/>
          <p:nvPr/>
        </p:nvCxnSpPr>
        <p:spPr>
          <a:xfrm>
            <a:off x="539750" y="2030171"/>
            <a:ext cx="2505108" cy="1496705"/>
          </a:xfrm>
          <a:prstGeom prst="bentConnector3">
            <a:avLst>
              <a:gd name="adj1" fmla="val 71826"/>
            </a:avLst>
          </a:prstGeom>
          <a:ln w="19050">
            <a:solidFill>
              <a:srgbClr val="0040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Соединительная линия уступом 24"/>
          <p:cNvCxnSpPr>
            <a:endCxn id="4" idx="1"/>
          </p:cNvCxnSpPr>
          <p:nvPr/>
        </p:nvCxnSpPr>
        <p:spPr>
          <a:xfrm flipV="1">
            <a:off x="539750" y="4250600"/>
            <a:ext cx="2412692" cy="300821"/>
          </a:xfrm>
          <a:prstGeom prst="bentConnector3">
            <a:avLst>
              <a:gd name="adj1" fmla="val 83211"/>
            </a:avLst>
          </a:prstGeom>
          <a:ln w="19050">
            <a:solidFill>
              <a:srgbClr val="0040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Соединительная линия уступом 27"/>
          <p:cNvCxnSpPr/>
          <p:nvPr/>
        </p:nvCxnSpPr>
        <p:spPr>
          <a:xfrm>
            <a:off x="3464867" y="1837188"/>
            <a:ext cx="1377887" cy="954174"/>
          </a:xfrm>
          <a:prstGeom prst="bentConnector3">
            <a:avLst>
              <a:gd name="adj1" fmla="val 99943"/>
            </a:avLst>
          </a:prstGeom>
          <a:ln w="19050">
            <a:solidFill>
              <a:srgbClr val="0040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Соединительная линия уступом 48"/>
          <p:cNvCxnSpPr/>
          <p:nvPr/>
        </p:nvCxnSpPr>
        <p:spPr>
          <a:xfrm>
            <a:off x="5872899" y="4250600"/>
            <a:ext cx="2592371" cy="698472"/>
          </a:xfrm>
          <a:prstGeom prst="bentConnector3">
            <a:avLst>
              <a:gd name="adj1" fmla="val 11455"/>
            </a:avLst>
          </a:prstGeom>
          <a:ln w="19050">
            <a:solidFill>
              <a:srgbClr val="0040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Соединительная линия уступом 53"/>
          <p:cNvCxnSpPr/>
          <p:nvPr/>
        </p:nvCxnSpPr>
        <p:spPr>
          <a:xfrm flipV="1">
            <a:off x="5872899" y="2379407"/>
            <a:ext cx="2659914" cy="1236523"/>
          </a:xfrm>
          <a:prstGeom prst="bentConnector3">
            <a:avLst>
              <a:gd name="adj1" fmla="val 10307"/>
            </a:avLst>
          </a:prstGeom>
          <a:ln w="19050">
            <a:solidFill>
              <a:srgbClr val="0040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Рисунок 6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070" y="1278114"/>
            <a:ext cx="612735" cy="614104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031" y="1275283"/>
            <a:ext cx="510211" cy="476752"/>
          </a:xfrm>
          <a:prstGeom prst="rect">
            <a:avLst/>
          </a:prstGeom>
        </p:spPr>
      </p:pic>
      <p:pic>
        <p:nvPicPr>
          <p:cNvPr id="71" name="Рисунок 7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146" y="1613540"/>
            <a:ext cx="612750" cy="617600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146" y="4429461"/>
            <a:ext cx="644252" cy="401984"/>
          </a:xfrm>
          <a:prstGeom prst="rect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070" y="3860194"/>
            <a:ext cx="487670" cy="584137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21" name="TextBox 20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11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504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7086600" y="6411913"/>
            <a:ext cx="2057400" cy="365125"/>
          </a:xfrm>
        </p:spPr>
        <p:txBody>
          <a:bodyPr/>
          <a:lstStyle/>
          <a:p>
            <a:fld id="{B77784C0-E3CF-4AB1-AD59-B2545151144D}" type="slidenum">
              <a:rPr lang="uk-UA" smtClean="0"/>
              <a:pPr/>
              <a:t>12</a:t>
            </a:fld>
            <a:endParaRPr lang="uk-UA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331604" y="2726763"/>
            <a:ext cx="638894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4086"/>
                </a:solidFill>
              </a:rPr>
              <a:t>III. </a:t>
            </a:r>
            <a:r>
              <a:rPr lang="ru-RU" sz="2400" b="1" dirty="0" smtClean="0">
                <a:solidFill>
                  <a:srgbClr val="004086"/>
                </a:solidFill>
              </a:rPr>
              <a:t>Инвентаризация </a:t>
            </a:r>
            <a:r>
              <a:rPr lang="ru-RU" sz="2400" b="1" dirty="0">
                <a:solidFill>
                  <a:srgbClr val="004086"/>
                </a:solidFill>
              </a:rPr>
              <a:t>законодательных требований по раскрытию и обеспечению доступа граждан и организаций к информации о состоянии и охране окружающей среды</a:t>
            </a:r>
            <a:endParaRPr lang="uk-UA" sz="2400" b="1" dirty="0">
              <a:solidFill>
                <a:srgbClr val="004086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>
          <a:xfrm>
            <a:off x="7083732" y="64780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77784C0-E3CF-4AB1-AD59-B2545151144D}" type="slidenum">
              <a:rPr lang="uk-UA" smtClean="0"/>
              <a:pPr/>
              <a:t>1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901838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ru-RU" dirty="0"/>
              <a:t>Проведена инвентаризация 19 законодательных </a:t>
            </a:r>
            <a:r>
              <a:rPr lang="ru-RU" dirty="0" smtClean="0"/>
              <a:t>актов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13</a:t>
            </a:fld>
            <a:endParaRPr lang="uk-UA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76274" y="4013651"/>
            <a:ext cx="1782755" cy="981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0"/>
              </a:spcAft>
            </a:pPr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онституция Российской</a:t>
            </a: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ции</a:t>
            </a:r>
            <a:endParaRPr lang="uk-UA" sz="16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153319" y="4003446"/>
            <a:ext cx="2418681" cy="12777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13 </a:t>
            </a:r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конов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 области охраны окружающей среды и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иродопользования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499550" y="4003447"/>
            <a:ext cx="2418681" cy="15610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закона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 области информации и информационных технологий и иных областях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905" y="2211208"/>
            <a:ext cx="1156545" cy="153807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8627" y="2221413"/>
            <a:ext cx="1148064" cy="151766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138" y="2201003"/>
            <a:ext cx="1163504" cy="1538075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15" name="TextBox 14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13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834433" y="4013651"/>
            <a:ext cx="2418681" cy="388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ых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закона 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2021" y="2211207"/>
            <a:ext cx="1163504" cy="153807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7534987" y="3074953"/>
            <a:ext cx="626166" cy="577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496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971426" y="108898"/>
            <a:ext cx="7561387" cy="514350"/>
          </a:xfrm>
        </p:spPr>
        <p:txBody>
          <a:bodyPr>
            <a:noAutofit/>
          </a:bodyPr>
          <a:lstStyle/>
          <a:p>
            <a:r>
              <a:rPr lang="ru-RU" sz="1800" dirty="0"/>
              <a:t>По результатам инвентаризации выявлена необходимость концептуального дополнения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14</a:t>
            </a:fld>
            <a:endParaRPr lang="uk-UA" dirty="0"/>
          </a:p>
        </p:txBody>
      </p:sp>
      <p:sp>
        <p:nvSpPr>
          <p:cNvPr id="4" name="Блок-схема: решение 3"/>
          <p:cNvSpPr/>
          <p:nvPr/>
        </p:nvSpPr>
        <p:spPr>
          <a:xfrm>
            <a:off x="716083" y="1172314"/>
            <a:ext cx="435001" cy="435001"/>
          </a:xfrm>
          <a:prstGeom prst="flowChartDecision">
            <a:avLst/>
          </a:prstGeom>
          <a:solidFill>
            <a:srgbClr val="00408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endParaRPr lang="uk-UA" sz="1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291335" y="1242813"/>
            <a:ext cx="7241477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льного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кона от 10 января 2002 года № 7-ФЗ «Об охране окружающей среды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353085" y="2377150"/>
            <a:ext cx="7241477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кон от 19 июля 1998 года № 113-ФЗ «О гидрометеорологической службе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566562" y="2850334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1323368" y="2982861"/>
            <a:ext cx="6985480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кон от 23 ноября 1995 года № 174-ФЗ «Об экологической экспертизе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539750" y="3456046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291336" y="3527868"/>
            <a:ext cx="7241477" cy="55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кон от 27 июня 2006 года № 149-ФЗ «Об информации, информационных технологиях и о защите информации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566562" y="4119727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1323368" y="4310278"/>
            <a:ext cx="7241477" cy="312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кон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оссийской Федерации от 21 июля 1993 года № 5485-1 «О государственной тайне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39750" y="1720744"/>
            <a:ext cx="7993062" cy="501022"/>
          </a:xfrm>
          <a:prstGeom prst="rect">
            <a:avLst/>
          </a:prstGeom>
          <a:pattFill prst="dkUpDiag">
            <a:fgClr>
              <a:schemeClr val="bg1">
                <a:lumMod val="95000"/>
              </a:schemeClr>
            </a:fgClr>
            <a:bgClr>
              <a:srgbClr val="E6E6E6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915542" y="1807494"/>
            <a:ext cx="7241477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>
                <a:solidFill>
                  <a:srgbClr val="004086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а также внесения корреспондирующих изменений в следующие законодательные </a:t>
            </a:r>
            <a:r>
              <a:rPr lang="ru-RU" sz="1400" b="1" dirty="0" smtClean="0">
                <a:solidFill>
                  <a:srgbClr val="004086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акты</a:t>
            </a:r>
            <a:endParaRPr lang="uk-UA" sz="1200" b="1" dirty="0">
              <a:solidFill>
                <a:srgbClr val="004086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536845" y="4790599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1353085" y="4976350"/>
            <a:ext cx="7241477" cy="312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кон от 29 июля 2004 года № 98-ФЗ «О коммерческой тайне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566562" y="5475525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1353085" y="5676997"/>
            <a:ext cx="7241477" cy="312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одекс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оссийской Федерации об административных правонарушениях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736" y="1267351"/>
            <a:ext cx="235611" cy="194076"/>
          </a:xfrm>
          <a:prstGeom prst="rect">
            <a:avLst/>
          </a:prstGeom>
        </p:spPr>
      </p:pic>
      <p:grpSp>
        <p:nvGrpSpPr>
          <p:cNvPr id="33" name="Группа 32"/>
          <p:cNvGrpSpPr/>
          <p:nvPr/>
        </p:nvGrpSpPr>
        <p:grpSpPr>
          <a:xfrm>
            <a:off x="716082" y="2307492"/>
            <a:ext cx="435001" cy="435001"/>
            <a:chOff x="716083" y="2298569"/>
            <a:chExt cx="435001" cy="435001"/>
          </a:xfrm>
        </p:grpSpPr>
        <p:sp>
          <p:nvSpPr>
            <p:cNvPr id="31" name="Блок-схема: решение 30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grpSp>
        <p:nvGrpSpPr>
          <p:cNvPr id="34" name="Группа 33"/>
          <p:cNvGrpSpPr/>
          <p:nvPr/>
        </p:nvGrpSpPr>
        <p:grpSpPr>
          <a:xfrm>
            <a:off x="716082" y="2937209"/>
            <a:ext cx="435001" cy="435001"/>
            <a:chOff x="716083" y="2298569"/>
            <a:chExt cx="435001" cy="435001"/>
          </a:xfrm>
        </p:grpSpPr>
        <p:sp>
          <p:nvSpPr>
            <p:cNvPr id="35" name="Блок-схема: решение 34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grpSp>
        <p:nvGrpSpPr>
          <p:cNvPr id="37" name="Группа 36"/>
          <p:cNvGrpSpPr/>
          <p:nvPr/>
        </p:nvGrpSpPr>
        <p:grpSpPr>
          <a:xfrm>
            <a:off x="698039" y="3564620"/>
            <a:ext cx="435001" cy="435001"/>
            <a:chOff x="716083" y="2298569"/>
            <a:chExt cx="435001" cy="435001"/>
          </a:xfrm>
        </p:grpSpPr>
        <p:sp>
          <p:nvSpPr>
            <p:cNvPr id="38" name="Блок-схема: решение 37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39" name="Рисунок 3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grpSp>
        <p:nvGrpSpPr>
          <p:cNvPr id="40" name="Группа 39"/>
          <p:cNvGrpSpPr/>
          <p:nvPr/>
        </p:nvGrpSpPr>
        <p:grpSpPr>
          <a:xfrm>
            <a:off x="698038" y="4192633"/>
            <a:ext cx="435001" cy="435001"/>
            <a:chOff x="716083" y="2298569"/>
            <a:chExt cx="435001" cy="435001"/>
          </a:xfrm>
        </p:grpSpPr>
        <p:sp>
          <p:nvSpPr>
            <p:cNvPr id="41" name="Блок-схема: решение 40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grpSp>
        <p:nvGrpSpPr>
          <p:cNvPr id="43" name="Группа 42"/>
          <p:cNvGrpSpPr/>
          <p:nvPr/>
        </p:nvGrpSpPr>
        <p:grpSpPr>
          <a:xfrm>
            <a:off x="709413" y="4899172"/>
            <a:ext cx="435001" cy="435001"/>
            <a:chOff x="716083" y="2298569"/>
            <a:chExt cx="435001" cy="435001"/>
          </a:xfrm>
        </p:grpSpPr>
        <p:sp>
          <p:nvSpPr>
            <p:cNvPr id="44" name="Блок-схема: решение 43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45" name="Рисунок 4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grpSp>
        <p:nvGrpSpPr>
          <p:cNvPr id="46" name="Группа 45"/>
          <p:cNvGrpSpPr/>
          <p:nvPr/>
        </p:nvGrpSpPr>
        <p:grpSpPr>
          <a:xfrm>
            <a:off x="716082" y="5590782"/>
            <a:ext cx="435001" cy="435001"/>
            <a:chOff x="716083" y="2298569"/>
            <a:chExt cx="435001" cy="435001"/>
          </a:xfrm>
        </p:grpSpPr>
        <p:sp>
          <p:nvSpPr>
            <p:cNvPr id="47" name="Блок-схема: решение 46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48" name="Рисунок 4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sp>
        <p:nvSpPr>
          <p:cNvPr id="49" name="Прямоугольник 48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50" name="TextBox 49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14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969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7086600" y="6411913"/>
            <a:ext cx="2057400" cy="365125"/>
          </a:xfrm>
        </p:spPr>
        <p:txBody>
          <a:bodyPr/>
          <a:lstStyle/>
          <a:p>
            <a:fld id="{B77784C0-E3CF-4AB1-AD59-B2545151144D}" type="slidenum">
              <a:rPr lang="uk-UA" smtClean="0"/>
              <a:pPr/>
              <a:t>15</a:t>
            </a:fld>
            <a:endParaRPr lang="uk-UA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331604" y="2726763"/>
            <a:ext cx="638894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4086"/>
                </a:solidFill>
              </a:rPr>
              <a:t>IV. </a:t>
            </a:r>
            <a:r>
              <a:rPr lang="ru-RU" sz="2400" b="1" dirty="0" smtClean="0">
                <a:solidFill>
                  <a:srgbClr val="004086"/>
                </a:solidFill>
              </a:rPr>
              <a:t>Подготовка </a:t>
            </a:r>
            <a:r>
              <a:rPr lang="ru-RU" sz="2400" b="1" dirty="0">
                <a:solidFill>
                  <a:srgbClr val="004086"/>
                </a:solidFill>
              </a:rPr>
              <a:t>предложений по определению понятия «экологическая информация» и его законодательному закреплению</a:t>
            </a:r>
            <a:endParaRPr lang="uk-UA" sz="2400" b="1" dirty="0">
              <a:solidFill>
                <a:srgbClr val="004086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>
          <a:xfrm>
            <a:off x="7083732" y="64780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77784C0-E3CF-4AB1-AD59-B2545151144D}" type="slidenum">
              <a:rPr lang="uk-UA" smtClean="0"/>
              <a:pPr/>
              <a:t>1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269432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Определение понятия «экологическая информация»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16</a:t>
            </a:fld>
            <a:endParaRPr lang="uk-UA" dirty="0"/>
          </a:p>
        </p:txBody>
      </p:sp>
      <p:sp>
        <p:nvSpPr>
          <p:cNvPr id="4" name="Параллелограмм 17"/>
          <p:cNvSpPr/>
          <p:nvPr/>
        </p:nvSpPr>
        <p:spPr>
          <a:xfrm>
            <a:off x="539750" y="2338415"/>
            <a:ext cx="7993063" cy="431408"/>
          </a:xfrm>
          <a:prstGeom prst="snip2DiagRect">
            <a:avLst/>
          </a:prstGeom>
          <a:solidFill>
            <a:srgbClr val="0056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0" rtlCol="0" anchor="ctr"/>
          <a:lstStyle/>
          <a:p>
            <a:pPr algn="ctr">
              <a:spcAft>
                <a:spcPts val="0"/>
              </a:spcAft>
            </a:pPr>
            <a:r>
              <a:rPr lang="ru-RU" sz="2400" b="1" dirty="0">
                <a:solidFill>
                  <a:schemeClr val="bg1"/>
                </a:solidFill>
                <a:ea typeface="Times New Roman" panose="02020603050405020304" pitchFamily="18" charset="0"/>
              </a:rPr>
              <a:t>Экологическая информация</a:t>
            </a:r>
            <a:endParaRPr lang="uk-UA" sz="2400" dirty="0">
              <a:solidFill>
                <a:schemeClr val="bg1"/>
              </a:solidFill>
              <a:ea typeface="Times New Roman" panose="02020603050405020304" pitchFamily="18" charset="0"/>
            </a:endParaRPr>
          </a:p>
        </p:txBody>
      </p:sp>
      <p:sp>
        <p:nvSpPr>
          <p:cNvPr id="5" name="Прямокутник 14"/>
          <p:cNvSpPr/>
          <p:nvPr/>
        </p:nvSpPr>
        <p:spPr>
          <a:xfrm>
            <a:off x="1728491" y="3005861"/>
            <a:ext cx="5615580" cy="15610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0"/>
              </a:spcAft>
              <a:buClr>
                <a:srgbClr val="0061CC"/>
              </a:buClr>
              <a:tabLst>
                <a:tab pos="457200" algn="l"/>
              </a:tabLst>
            </a:pPr>
            <a:r>
              <a:rPr lang="ru-RU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– это сведения (сообщения, данные), независимо от формы их представления, об окружающей среде, в том числе о ее состоянии и загрязнении, компонентах, объектах, о происходящих в них процессах, явлениях, оценках и прогнозах изменений состояния</a:t>
            </a:r>
            <a:endParaRPr lang="uk-UA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16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898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Определение понятия «экологическая информация»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17</a:t>
            </a:fld>
            <a:endParaRPr lang="uk-UA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390746" y="1391479"/>
            <a:ext cx="7142067" cy="8827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сновано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а определении понятия «информация», закрепленного Федеральным законом от 27 июля 2006 года № 149-ФЗ «Об информации, информационных технологиях и о защите информации»</a:t>
            </a: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710881" y="1665916"/>
            <a:ext cx="389788" cy="389788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2000" dirty="0" smtClean="0">
                <a:sym typeface="Wingdings" panose="05000000000000000000" pitchFamily="2" charset="2"/>
              </a:rPr>
              <a:t></a:t>
            </a:r>
            <a:endParaRPr lang="uk-UA" sz="2000" dirty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539750" y="2463449"/>
            <a:ext cx="7993063" cy="9602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1390746" y="2662279"/>
            <a:ext cx="7142067" cy="871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оответствует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ложениям Федерального закона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т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10 января 2002 года № 7-ФЗ «Об охране окружающей среды» в части определяемого объекта «окружающая среда» и объема соответствующего понятия</a:t>
            </a:r>
          </a:p>
        </p:txBody>
      </p:sp>
      <p:sp>
        <p:nvSpPr>
          <p:cNvPr id="19" name="Овал 18"/>
          <p:cNvSpPr/>
          <p:nvPr/>
        </p:nvSpPr>
        <p:spPr>
          <a:xfrm>
            <a:off x="710881" y="2936716"/>
            <a:ext cx="389788" cy="389788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2000" dirty="0" smtClean="0">
                <a:sym typeface="Wingdings" panose="05000000000000000000" pitchFamily="2" charset="2"/>
              </a:rPr>
              <a:t></a:t>
            </a:r>
            <a:endParaRPr lang="uk-UA" sz="2000" dirty="0"/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539750" y="3816860"/>
            <a:ext cx="7993063" cy="9602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1390746" y="4112260"/>
            <a:ext cx="7142067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читывает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одержание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сновополагающих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ых ресурсов, содержащих информацию, относимую к экологической</a:t>
            </a:r>
          </a:p>
        </p:txBody>
      </p:sp>
      <p:sp>
        <p:nvSpPr>
          <p:cNvPr id="22" name="Овал 21"/>
          <p:cNvSpPr/>
          <p:nvPr/>
        </p:nvSpPr>
        <p:spPr>
          <a:xfrm>
            <a:off x="710881" y="4290127"/>
            <a:ext cx="389788" cy="389788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2000" dirty="0" smtClean="0">
                <a:sym typeface="Wingdings" panose="05000000000000000000" pitchFamily="2" charset="2"/>
              </a:rPr>
              <a:t></a:t>
            </a:r>
            <a:endParaRPr lang="uk-UA" sz="2000" dirty="0"/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539750" y="5008831"/>
            <a:ext cx="7993063" cy="9602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1390746" y="5304231"/>
            <a:ext cx="7142067" cy="607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оздает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словия для расширительного толкования, в том числе в объеме, приближенном к используемому в Орхусской конвенции</a:t>
            </a:r>
          </a:p>
        </p:txBody>
      </p:sp>
      <p:sp>
        <p:nvSpPr>
          <p:cNvPr id="25" name="Овал 24"/>
          <p:cNvSpPr/>
          <p:nvPr/>
        </p:nvSpPr>
        <p:spPr>
          <a:xfrm>
            <a:off x="710881" y="5482098"/>
            <a:ext cx="389788" cy="389788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2000" dirty="0" smtClean="0">
                <a:sym typeface="Wingdings" panose="05000000000000000000" pitchFamily="2" charset="2"/>
              </a:rPr>
              <a:t></a:t>
            </a:r>
            <a:endParaRPr lang="uk-UA" sz="20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16" name="TextBox 15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17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8470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7086600" y="6411913"/>
            <a:ext cx="2057400" cy="365125"/>
          </a:xfrm>
        </p:spPr>
        <p:txBody>
          <a:bodyPr/>
          <a:lstStyle/>
          <a:p>
            <a:fld id="{B77784C0-E3CF-4AB1-AD59-B2545151144D}" type="slidenum">
              <a:rPr lang="uk-UA" smtClean="0"/>
              <a:pPr/>
              <a:t>18</a:t>
            </a:fld>
            <a:endParaRPr lang="uk-UA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331604" y="2726763"/>
            <a:ext cx="638894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4086"/>
                </a:solidFill>
              </a:rPr>
              <a:t>V. </a:t>
            </a:r>
            <a:r>
              <a:rPr lang="ru-RU" sz="2400" b="1" dirty="0" smtClean="0">
                <a:solidFill>
                  <a:srgbClr val="004086"/>
                </a:solidFill>
              </a:rPr>
              <a:t>Рекомендации </a:t>
            </a:r>
            <a:r>
              <a:rPr lang="ru-RU" sz="2400" b="1" dirty="0">
                <a:solidFill>
                  <a:srgbClr val="004086"/>
                </a:solidFill>
              </a:rPr>
              <a:t>по изменениям законодательства Российской Федерации</a:t>
            </a:r>
            <a:endParaRPr lang="uk-UA" sz="2400" b="1" dirty="0">
              <a:solidFill>
                <a:srgbClr val="004086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>
          <a:xfrm>
            <a:off x="7083732" y="646942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77784C0-E3CF-4AB1-AD59-B2545151144D}" type="slidenum">
              <a:rPr lang="uk-UA" smtClean="0"/>
              <a:pPr/>
              <a:t>1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654307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Рекомендации по разработке новых законопроектов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19</a:t>
            </a:fld>
            <a:endParaRPr lang="uk-UA" dirty="0"/>
          </a:p>
        </p:txBody>
      </p:sp>
      <p:sp>
        <p:nvSpPr>
          <p:cNvPr id="4" name="Параллелограмм 17"/>
          <p:cNvSpPr/>
          <p:nvPr/>
        </p:nvSpPr>
        <p:spPr>
          <a:xfrm>
            <a:off x="539750" y="1380679"/>
            <a:ext cx="7993063" cy="448122"/>
          </a:xfrm>
          <a:prstGeom prst="snip2DiagRect">
            <a:avLst/>
          </a:prstGeom>
          <a:solidFill>
            <a:srgbClr val="0056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0" rtlCol="0" anchor="ctr"/>
          <a:lstStyle/>
          <a:p>
            <a:pPr algn="ctr">
              <a:spcAft>
                <a:spcPts val="0"/>
              </a:spcAft>
            </a:pPr>
            <a:r>
              <a:rPr lang="ru-RU" sz="2400" b="1" dirty="0">
                <a:solidFill>
                  <a:schemeClr val="bg1"/>
                </a:solidFill>
                <a:ea typeface="Times New Roman" panose="02020603050405020304" pitchFamily="18" charset="0"/>
              </a:rPr>
              <a:t>Необходимо </a:t>
            </a:r>
            <a:r>
              <a:rPr lang="ru-RU" sz="2400" b="1" dirty="0" smtClean="0">
                <a:solidFill>
                  <a:schemeClr val="bg1"/>
                </a:solidFill>
                <a:ea typeface="Times New Roman" panose="02020603050405020304" pitchFamily="18" charset="0"/>
              </a:rPr>
              <a:t>разработать</a:t>
            </a:r>
            <a:endParaRPr lang="uk-UA" sz="2400" dirty="0">
              <a:solidFill>
                <a:schemeClr val="bg1"/>
              </a:solidFill>
              <a:ea typeface="Times New Roman" panose="02020603050405020304" pitchFamily="18" charset="0"/>
            </a:endParaRPr>
          </a:p>
        </p:txBody>
      </p:sp>
      <p:sp>
        <p:nvSpPr>
          <p:cNvPr id="5" name="Прямоугольник 14"/>
          <p:cNvSpPr/>
          <p:nvPr/>
        </p:nvSpPr>
        <p:spPr>
          <a:xfrm>
            <a:off x="539751" y="2972364"/>
            <a:ext cx="3871993" cy="330143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pPr lvl="0">
              <a:spcAft>
                <a:spcPts val="0"/>
              </a:spcAft>
              <a:buClr>
                <a:srgbClr val="0052AC"/>
              </a:buClr>
              <a:tabLst>
                <a:tab pos="900430" algn="l"/>
              </a:tabLst>
            </a:pPr>
            <a:endParaRPr lang="uk-UA" dirty="0">
              <a:solidFill>
                <a:schemeClr val="tx1">
                  <a:lumMod val="65000"/>
                  <a:lumOff val="35000"/>
                </a:schemeClr>
              </a:solidFill>
              <a:ea typeface="MS Mincho" panose="02020609040205080304" pitchFamily="49" charset="-128"/>
            </a:endParaRPr>
          </a:p>
        </p:txBody>
      </p:sp>
      <p:sp>
        <p:nvSpPr>
          <p:cNvPr id="6" name="Прямоугольник 14"/>
          <p:cNvSpPr/>
          <p:nvPr/>
        </p:nvSpPr>
        <p:spPr>
          <a:xfrm>
            <a:off x="4656841" y="2972364"/>
            <a:ext cx="3875972" cy="330143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pPr lvl="0">
              <a:spcAft>
                <a:spcPts val="0"/>
              </a:spcAft>
              <a:buClr>
                <a:srgbClr val="0052AC"/>
              </a:buClr>
              <a:tabLst>
                <a:tab pos="900430" algn="l"/>
              </a:tabLst>
            </a:pPr>
            <a:endParaRPr lang="uk-UA" dirty="0">
              <a:solidFill>
                <a:schemeClr val="tx1">
                  <a:lumMod val="65000"/>
                  <a:lumOff val="35000"/>
                </a:schemeClr>
              </a:solidFill>
              <a:ea typeface="MS Mincho" panose="02020609040205080304" pitchFamily="49" charset="-128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25736" y="4525355"/>
            <a:ext cx="3700021" cy="1661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0"/>
              </a:spcAft>
            </a:pPr>
            <a:r>
              <a:rPr lang="ru-RU" sz="1600" b="1" dirty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  <a:t>Ф</a:t>
            </a:r>
            <a:r>
              <a:rPr lang="ru-RU" sz="1600" b="1" dirty="0" smtClean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  <a:t>едеральный </a:t>
            </a:r>
            <a:r>
              <a:rPr lang="ru-RU" sz="1600" b="1" dirty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  <a:t>закон </a:t>
            </a:r>
            <a:r>
              <a:rPr lang="ru-RU" sz="1600" dirty="0" smtClean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  <a:t/>
            </a:r>
            <a:br>
              <a:rPr lang="ru-RU" sz="1600" dirty="0" smtClean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</a:br>
            <a:r>
              <a:rPr lang="ru-RU" sz="1600" dirty="0" smtClean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  <a:t>«</a:t>
            </a:r>
            <a:r>
              <a:rPr lang="ru-RU" sz="160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  <a:t>О внесении изменений в Федеральный закон  «Об охране окружающей среды» и иные законодательные акты Российской Федерации»</a:t>
            </a:r>
            <a:endParaRPr lang="ru-RU" sz="1400" dirty="0">
              <a:effectLst/>
              <a:latin typeface="+mn-lt"/>
              <a:ea typeface="Calibri" panose="020F0502020204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26768" y="4623081"/>
            <a:ext cx="3164273" cy="1673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0"/>
              </a:spcAft>
            </a:pPr>
            <a:r>
              <a:rPr lang="ru-RU" sz="1600" b="1" dirty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  <a:t>Ф</a:t>
            </a:r>
            <a:r>
              <a:rPr lang="ru-RU" sz="1600" b="1" dirty="0" smtClean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  <a:t>едеральный </a:t>
            </a:r>
            <a:r>
              <a:rPr lang="ru-RU" sz="1600" b="1" dirty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  <a:t>закон </a:t>
            </a:r>
            <a:r>
              <a:rPr lang="ru-RU" sz="160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  <a:t/>
            </a:r>
            <a:br>
              <a:rPr lang="ru-RU" sz="160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+mn-lt"/>
                <a:ea typeface="Calibri" panose="020F0502020204030204" pitchFamily="34" charset="0"/>
              </a:rPr>
              <a:t>«О внесении изменений в статью 8.5 Кодекса Российской Федерации об административных правонарушениях»</a:t>
            </a:r>
          </a:p>
          <a:p>
            <a:pPr lvl="0" algn="ctr">
              <a:lnSpc>
                <a:spcPct val="107000"/>
              </a:lnSpc>
              <a:spcAft>
                <a:spcPts val="0"/>
              </a:spcAft>
            </a:pPr>
            <a:endParaRPr lang="ru-RU" sz="1600" dirty="0">
              <a:solidFill>
                <a:srgbClr val="000000"/>
              </a:solidFill>
              <a:latin typeface="+mn-lt"/>
              <a:ea typeface="Calibri" panose="020F0502020204030204" pitchFamily="34" charset="0"/>
            </a:endParaRPr>
          </a:p>
        </p:txBody>
      </p:sp>
      <p:cxnSp>
        <p:nvCxnSpPr>
          <p:cNvPr id="10" name="Прямая со стрелкой 9"/>
          <p:cNvCxnSpPr/>
          <p:nvPr/>
        </p:nvCxnSpPr>
        <p:spPr>
          <a:xfrm>
            <a:off x="2418041" y="1828801"/>
            <a:ext cx="9428" cy="1074655"/>
          </a:xfrm>
          <a:prstGeom prst="straightConnector1">
            <a:avLst/>
          </a:prstGeom>
          <a:ln w="38100">
            <a:solidFill>
              <a:srgbClr val="0056B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6508905" y="1804728"/>
            <a:ext cx="9428" cy="1074655"/>
          </a:xfrm>
          <a:prstGeom prst="straightConnector1">
            <a:avLst/>
          </a:prstGeom>
          <a:ln w="38100">
            <a:solidFill>
              <a:srgbClr val="0056B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3316" y="3125928"/>
            <a:ext cx="909450" cy="131240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1596" y="3157351"/>
            <a:ext cx="782925" cy="1368004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16" name="TextBox 15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19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560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293896" y="2717336"/>
            <a:ext cx="638894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4086"/>
                </a:solidFill>
              </a:rPr>
              <a:t>I. </a:t>
            </a:r>
            <a:r>
              <a:rPr lang="ru-RU" sz="2400" b="1" dirty="0" smtClean="0">
                <a:solidFill>
                  <a:srgbClr val="004086"/>
                </a:solidFill>
              </a:rPr>
              <a:t>Предпосылки </a:t>
            </a:r>
            <a:r>
              <a:rPr lang="ru-RU" sz="2400" b="1" dirty="0">
                <a:solidFill>
                  <a:srgbClr val="004086"/>
                </a:solidFill>
              </a:rPr>
              <a:t>для принятия Федерального закона «Об экологической информации»</a:t>
            </a:r>
            <a:endParaRPr lang="uk-UA" sz="2400" b="1" dirty="0">
              <a:solidFill>
                <a:srgbClr val="004086"/>
              </a:solidFill>
            </a:endParaRPr>
          </a:p>
          <a:p>
            <a:pPr algn="ctr"/>
            <a:endParaRPr lang="uk-UA" sz="2400" b="1" dirty="0">
              <a:solidFill>
                <a:srgbClr val="004086"/>
              </a:solidFill>
            </a:endParaRPr>
          </a:p>
        </p:txBody>
      </p:sp>
      <p:sp>
        <p:nvSpPr>
          <p:cNvPr id="3" name="Номер слайда 2"/>
          <p:cNvSpPr txBox="1">
            <a:spLocks/>
          </p:cNvSpPr>
          <p:nvPr/>
        </p:nvSpPr>
        <p:spPr>
          <a:xfrm>
            <a:off x="7086600" y="641191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77784C0-E3CF-4AB1-AD59-B2545151144D}" type="slidenum">
              <a:rPr lang="uk-UA" smtClean="0"/>
              <a:pPr/>
              <a:t>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8225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Рекомендации по изменению законодательных актов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20</a:t>
            </a:fld>
            <a:endParaRPr lang="uk-UA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347218" y="1854469"/>
            <a:ext cx="7241477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закон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Об охране окружающей среды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60695" y="2327653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317501" y="2459059"/>
            <a:ext cx="7241477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закон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 государственной тайне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533883" y="2933365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1347218" y="3097490"/>
            <a:ext cx="7241477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закон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Об экологической экспертизе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560695" y="3597046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1317501" y="3787597"/>
            <a:ext cx="7241477" cy="312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закон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 гидрометеорологической службе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530978" y="4267918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347218" y="4453669"/>
            <a:ext cx="7241477" cy="312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закон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 коммерческой тайне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560695" y="4952844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1347217" y="5051640"/>
            <a:ext cx="7241477" cy="543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кон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Об информации, информационных технологиях и о защите информации»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Параллелограмм 17"/>
          <p:cNvSpPr/>
          <p:nvPr/>
        </p:nvSpPr>
        <p:spPr>
          <a:xfrm>
            <a:off x="539750" y="1163254"/>
            <a:ext cx="7993063" cy="448122"/>
          </a:xfrm>
          <a:prstGeom prst="snip2DiagRect">
            <a:avLst/>
          </a:prstGeom>
          <a:solidFill>
            <a:srgbClr val="0056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0" rtlCol="0" anchor="ctr"/>
          <a:lstStyle/>
          <a:p>
            <a:pPr algn="ctr">
              <a:spcAft>
                <a:spcPts val="0"/>
              </a:spcAft>
            </a:pPr>
            <a:r>
              <a:rPr lang="ru-RU" sz="2400" b="1" dirty="0">
                <a:solidFill>
                  <a:schemeClr val="bg1"/>
                </a:solidFill>
                <a:ea typeface="Times New Roman" panose="02020603050405020304" pitchFamily="18" charset="0"/>
              </a:rPr>
              <a:t>Необходимо внести изменения в:</a:t>
            </a:r>
            <a:endParaRPr lang="uk-UA" sz="2400" dirty="0">
              <a:solidFill>
                <a:schemeClr val="bg1"/>
              </a:solidFill>
              <a:ea typeface="Times New Roman" panose="02020603050405020304" pitchFamily="18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530978" y="5679165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1347218" y="5864916"/>
            <a:ext cx="7241477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декс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об административных правонарушениях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658783" y="1767690"/>
            <a:ext cx="435001" cy="435001"/>
            <a:chOff x="716083" y="2298569"/>
            <a:chExt cx="435001" cy="435001"/>
          </a:xfrm>
        </p:grpSpPr>
        <p:sp>
          <p:nvSpPr>
            <p:cNvPr id="26" name="Блок-схема: решение 25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grpSp>
        <p:nvGrpSpPr>
          <p:cNvPr id="28" name="Группа 27"/>
          <p:cNvGrpSpPr/>
          <p:nvPr/>
        </p:nvGrpSpPr>
        <p:grpSpPr>
          <a:xfrm>
            <a:off x="658783" y="2400533"/>
            <a:ext cx="435001" cy="435001"/>
            <a:chOff x="716083" y="2298569"/>
            <a:chExt cx="435001" cy="435001"/>
          </a:xfrm>
        </p:grpSpPr>
        <p:sp>
          <p:nvSpPr>
            <p:cNvPr id="29" name="Блок-схема: решение 28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grpSp>
        <p:nvGrpSpPr>
          <p:cNvPr id="31" name="Группа 30"/>
          <p:cNvGrpSpPr/>
          <p:nvPr/>
        </p:nvGrpSpPr>
        <p:grpSpPr>
          <a:xfrm>
            <a:off x="658783" y="3031197"/>
            <a:ext cx="435001" cy="435001"/>
            <a:chOff x="716083" y="2298569"/>
            <a:chExt cx="435001" cy="435001"/>
          </a:xfrm>
        </p:grpSpPr>
        <p:sp>
          <p:nvSpPr>
            <p:cNvPr id="32" name="Блок-схема: решение 31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grpSp>
        <p:nvGrpSpPr>
          <p:cNvPr id="34" name="Группа 33"/>
          <p:cNvGrpSpPr/>
          <p:nvPr/>
        </p:nvGrpSpPr>
        <p:grpSpPr>
          <a:xfrm>
            <a:off x="658783" y="3704733"/>
            <a:ext cx="435001" cy="435001"/>
            <a:chOff x="716083" y="2298569"/>
            <a:chExt cx="435001" cy="435001"/>
          </a:xfrm>
        </p:grpSpPr>
        <p:sp>
          <p:nvSpPr>
            <p:cNvPr id="35" name="Блок-схема: решение 34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grpSp>
        <p:nvGrpSpPr>
          <p:cNvPr id="37" name="Группа 36"/>
          <p:cNvGrpSpPr/>
          <p:nvPr/>
        </p:nvGrpSpPr>
        <p:grpSpPr>
          <a:xfrm>
            <a:off x="658783" y="4371872"/>
            <a:ext cx="435001" cy="435001"/>
            <a:chOff x="716083" y="2298569"/>
            <a:chExt cx="435001" cy="435001"/>
          </a:xfrm>
        </p:grpSpPr>
        <p:sp>
          <p:nvSpPr>
            <p:cNvPr id="38" name="Блок-схема: решение 37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39" name="Рисунок 3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grpSp>
        <p:nvGrpSpPr>
          <p:cNvPr id="40" name="Группа 39"/>
          <p:cNvGrpSpPr/>
          <p:nvPr/>
        </p:nvGrpSpPr>
        <p:grpSpPr>
          <a:xfrm>
            <a:off x="658783" y="5056797"/>
            <a:ext cx="435001" cy="435001"/>
            <a:chOff x="716083" y="2298569"/>
            <a:chExt cx="435001" cy="435001"/>
          </a:xfrm>
        </p:grpSpPr>
        <p:sp>
          <p:nvSpPr>
            <p:cNvPr id="41" name="Блок-схема: решение 40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grpSp>
        <p:nvGrpSpPr>
          <p:cNvPr id="43" name="Группа 42"/>
          <p:cNvGrpSpPr/>
          <p:nvPr/>
        </p:nvGrpSpPr>
        <p:grpSpPr>
          <a:xfrm>
            <a:off x="658783" y="5763529"/>
            <a:ext cx="435001" cy="435001"/>
            <a:chOff x="716083" y="2298569"/>
            <a:chExt cx="435001" cy="435001"/>
          </a:xfrm>
        </p:grpSpPr>
        <p:sp>
          <p:nvSpPr>
            <p:cNvPr id="44" name="Блок-схема: решение 43"/>
            <p:cNvSpPr/>
            <p:nvPr/>
          </p:nvSpPr>
          <p:spPr>
            <a:xfrm>
              <a:off x="716083" y="2298569"/>
              <a:ext cx="435001" cy="435001"/>
            </a:xfrm>
            <a:prstGeom prst="flowChartDecision">
              <a:avLst/>
            </a:prstGeom>
            <a:solidFill>
              <a:srgbClr val="004086"/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rtlCol="0" anchor="ctr"/>
            <a:lstStyle/>
            <a:p>
              <a:pPr algn="ctr"/>
              <a:endParaRPr lang="uk-UA" sz="1400" dirty="0"/>
            </a:p>
          </p:txBody>
        </p:sp>
        <p:pic>
          <p:nvPicPr>
            <p:cNvPr id="45" name="Рисунок 4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7736" y="2393606"/>
              <a:ext cx="235611" cy="194076"/>
            </a:xfrm>
            <a:prstGeom prst="rect">
              <a:avLst/>
            </a:prstGeom>
          </p:spPr>
        </p:pic>
      </p:grpSp>
      <p:sp>
        <p:nvSpPr>
          <p:cNvPr id="46" name="Прямоугольник 45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47" name="TextBox 46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20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892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7086600" y="6411913"/>
            <a:ext cx="2057400" cy="365125"/>
          </a:xfrm>
        </p:spPr>
        <p:txBody>
          <a:bodyPr/>
          <a:lstStyle/>
          <a:p>
            <a:fld id="{B77784C0-E3CF-4AB1-AD59-B2545151144D}" type="slidenum">
              <a:rPr lang="uk-UA" smtClean="0"/>
              <a:pPr/>
              <a:t>21</a:t>
            </a:fld>
            <a:endParaRPr lang="uk-UA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331604" y="2726763"/>
            <a:ext cx="638894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4086"/>
                </a:solidFill>
              </a:rPr>
              <a:t>VI. </a:t>
            </a:r>
            <a:r>
              <a:rPr lang="ru-RU" sz="2400" b="1" dirty="0" smtClean="0">
                <a:solidFill>
                  <a:srgbClr val="004086"/>
                </a:solidFill>
              </a:rPr>
              <a:t>Целевая модель системы информирования о состоянии окружающей среды в Российской Федерации</a:t>
            </a:r>
            <a:endParaRPr lang="uk-UA" sz="2400" b="1" dirty="0">
              <a:solidFill>
                <a:srgbClr val="004086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>
          <a:xfrm>
            <a:off x="7083732" y="646942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77784C0-E3CF-4AB1-AD59-B2545151144D}" type="slidenum">
              <a:rPr lang="uk-UA" smtClean="0"/>
              <a:pPr/>
              <a:t>2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37502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Целевая модель (1)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22</a:t>
            </a:fld>
            <a:endParaRPr lang="uk-UA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76274" y="3237311"/>
            <a:ext cx="4149077" cy="2463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1. Принятие Федеральных законов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О внесении изменений в Федеральный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кон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Об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хране окружающей среды» и иные законодательные акты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оссийской Федерации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» и «О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несении изменений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 статью 8.5 Кодекса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оссийской Федерации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б административных правонарушениях»</a:t>
            </a:r>
            <a:endParaRPr lang="uk-UA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301" y="1434868"/>
            <a:ext cx="1156545" cy="1538075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15" name="TextBox 14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22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534987" y="3074953"/>
            <a:ext cx="626166" cy="5779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629" y="1445073"/>
            <a:ext cx="1148064" cy="1517665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4543276" y="3243069"/>
            <a:ext cx="4149077" cy="15610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2. Утверждение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авительством Российской Федерации исчерпывающего 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еречня</a:t>
            </a:r>
            <a:b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формации, подлежащей отнесению к экологической информации</a:t>
            </a:r>
            <a:endParaRPr lang="uk-UA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7045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Экология_05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536"/>
            <a:ext cx="9144000" cy="685692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43900" y="6357958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rgbClr val="1D5F9C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23</a:t>
            </a:fld>
            <a:endParaRPr lang="ru-RU" sz="1400" dirty="0">
              <a:solidFill>
                <a:srgbClr val="1D5F9C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71604" y="428604"/>
            <a:ext cx="63579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Целевая модель (2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6409429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23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5698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6"/>
            <a:ext cx="9144000" cy="685692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43900" y="6357958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rgbClr val="1D5F9C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24</a:t>
            </a:fld>
            <a:endParaRPr lang="ru-RU" sz="1400" dirty="0">
              <a:solidFill>
                <a:srgbClr val="1D5F9C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71604" y="342344"/>
            <a:ext cx="63579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осударственный фонда данных государственного экологического мониторинга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6392177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24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3597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7086600" y="6411913"/>
            <a:ext cx="2057400" cy="365125"/>
          </a:xfrm>
        </p:spPr>
        <p:txBody>
          <a:bodyPr/>
          <a:lstStyle/>
          <a:p>
            <a:fld id="{B77784C0-E3CF-4AB1-AD59-B2545151144D}" type="slidenum">
              <a:rPr lang="uk-UA" smtClean="0"/>
              <a:pPr/>
              <a:t>25</a:t>
            </a:fld>
            <a:endParaRPr lang="uk-UA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331604" y="2929963"/>
            <a:ext cx="638894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4086"/>
                </a:solidFill>
              </a:rPr>
              <a:t>VII. </a:t>
            </a:r>
            <a:r>
              <a:rPr lang="ru-RU" sz="2400" b="1" dirty="0" smtClean="0">
                <a:solidFill>
                  <a:srgbClr val="004086"/>
                </a:solidFill>
              </a:rPr>
              <a:t>Инвентаризация </a:t>
            </a:r>
            <a:r>
              <a:rPr lang="ru-RU" sz="2400" b="1" dirty="0">
                <a:solidFill>
                  <a:srgbClr val="004086"/>
                </a:solidFill>
              </a:rPr>
              <a:t>государственных информационных ресурсов в сфере экологии и охраны окружающей среды</a:t>
            </a:r>
            <a:endParaRPr lang="uk-UA" sz="2400" b="1" dirty="0">
              <a:solidFill>
                <a:srgbClr val="004086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>
          <a:xfrm>
            <a:off x="7083732" y="64780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77784C0-E3CF-4AB1-AD59-B2545151144D}" type="slidenum">
              <a:rPr lang="uk-UA" smtClean="0"/>
              <a:pPr/>
              <a:t>2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12524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тексту 1"/>
          <p:cNvSpPr>
            <a:spLocks noGrp="1"/>
          </p:cNvSpPr>
          <p:nvPr>
            <p:ph type="body" sz="quarter" idx="10"/>
          </p:nvPr>
        </p:nvSpPr>
        <p:spPr>
          <a:xfrm>
            <a:off x="1042827" y="192608"/>
            <a:ext cx="6942988" cy="514350"/>
          </a:xfrm>
        </p:spPr>
        <p:txBody>
          <a:bodyPr>
            <a:noAutofit/>
          </a:bodyPr>
          <a:lstStyle/>
          <a:p>
            <a:r>
              <a:rPr lang="ru-RU" sz="1800" dirty="0"/>
              <a:t>Основные </a:t>
            </a:r>
            <a:r>
              <a:rPr lang="ru-RU" sz="1800" dirty="0" smtClean="0"/>
              <a:t>государственные информационные ресурсы</a:t>
            </a:r>
            <a:r>
              <a:rPr lang="en-US" sz="1800" dirty="0" smtClean="0"/>
              <a:t> (1)</a:t>
            </a:r>
            <a:endParaRPr lang="uk-UA" sz="1800" dirty="0"/>
          </a:p>
        </p:txBody>
      </p:sp>
      <p:sp>
        <p:nvSpPr>
          <p:cNvPr id="3" name="Місце для номера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26</a:t>
            </a:fld>
            <a:endParaRPr lang="uk-UA" dirty="0"/>
          </a:p>
        </p:txBody>
      </p:sp>
      <p:sp>
        <p:nvSpPr>
          <p:cNvPr id="6" name="Овал 5"/>
          <p:cNvSpPr/>
          <p:nvPr/>
        </p:nvSpPr>
        <p:spPr>
          <a:xfrm>
            <a:off x="573409" y="1423867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023819" y="1312107"/>
            <a:ext cx="76309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Единый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й фонд данных о состоянии окружающей среды, ее загрязнении (ЕГФД)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504000" y="1193798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504000" y="1955794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вал 9"/>
          <p:cNvSpPr/>
          <p:nvPr/>
        </p:nvSpPr>
        <p:spPr>
          <a:xfrm>
            <a:off x="573409" y="2188385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023819" y="2034159"/>
            <a:ext cx="65863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Единая государственная система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формации об обстановке в Мировом океане (ЕСИМО)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504000" y="2721627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73409" y="3092129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1023819" y="2975547"/>
            <a:ext cx="72241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Единая государственная автоматизированная система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мониторинга радиационной обстановки на территории Российской Федерации (ЕГАСМРО)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504000" y="3649390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вал 15"/>
          <p:cNvSpPr/>
          <p:nvPr/>
        </p:nvSpPr>
        <p:spPr>
          <a:xfrm>
            <a:off x="573409" y="3785151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1023819" y="3763700"/>
            <a:ext cx="76309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Электронный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атлас земель сельскохозяйственного назначения 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504000" y="4261133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вал 18"/>
          <p:cNvSpPr/>
          <p:nvPr/>
        </p:nvSpPr>
        <p:spPr>
          <a:xfrm>
            <a:off x="573409" y="4394721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023819" y="4361457"/>
            <a:ext cx="76309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й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адастр объектов животного мира 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504000" y="4887085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Овал 21"/>
          <p:cNvSpPr/>
          <p:nvPr/>
        </p:nvSpPr>
        <p:spPr>
          <a:xfrm>
            <a:off x="573409" y="5779627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1023819" y="4971684"/>
            <a:ext cx="76309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ая система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дистанционного мониторинга Федерального агентства лесного хозяйства (ИСДМ-Рослесхоз)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504000" y="5652916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Овал 24"/>
          <p:cNvSpPr/>
          <p:nvPr/>
        </p:nvSpPr>
        <p:spPr>
          <a:xfrm>
            <a:off x="573409" y="5120934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1023819" y="5776108"/>
            <a:ext cx="76309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й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фонд геологической информации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28" name="TextBox 27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26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4532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тексту 1"/>
          <p:cNvSpPr>
            <a:spLocks noGrp="1"/>
          </p:cNvSpPr>
          <p:nvPr>
            <p:ph type="body" sz="quarter" idx="10"/>
          </p:nvPr>
        </p:nvSpPr>
        <p:spPr>
          <a:xfrm>
            <a:off x="1042827" y="192608"/>
            <a:ext cx="6942988" cy="514350"/>
          </a:xfrm>
        </p:spPr>
        <p:txBody>
          <a:bodyPr>
            <a:noAutofit/>
          </a:bodyPr>
          <a:lstStyle/>
          <a:p>
            <a:r>
              <a:rPr lang="ru-RU" sz="1800" dirty="0"/>
              <a:t>Основные </a:t>
            </a:r>
            <a:r>
              <a:rPr lang="ru-RU" sz="1800" dirty="0" smtClean="0"/>
              <a:t>государственные информационные ресурсы</a:t>
            </a:r>
            <a:r>
              <a:rPr lang="en-US" sz="1800" dirty="0" smtClean="0"/>
              <a:t> (2)</a:t>
            </a:r>
            <a:endParaRPr lang="uk-UA" sz="1800" dirty="0"/>
          </a:p>
        </p:txBody>
      </p:sp>
      <p:sp>
        <p:nvSpPr>
          <p:cNvPr id="3" name="Місце для номера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27</a:t>
            </a:fld>
            <a:endParaRPr lang="uk-UA" dirty="0"/>
          </a:p>
        </p:txBody>
      </p:sp>
      <p:sp>
        <p:nvSpPr>
          <p:cNvPr id="6" name="Овал 5"/>
          <p:cNvSpPr/>
          <p:nvPr/>
        </p:nvSpPr>
        <p:spPr>
          <a:xfrm>
            <a:off x="539590" y="2736582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903330" y="2715175"/>
            <a:ext cx="76309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й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одный реестр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505431" y="2516673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505431" y="3309149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вал 9"/>
          <p:cNvSpPr/>
          <p:nvPr/>
        </p:nvSpPr>
        <p:spPr>
          <a:xfrm>
            <a:off x="539590" y="3480780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903330" y="3467707"/>
            <a:ext cx="658639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й кадастр отходов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505431" y="3983542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39590" y="4201644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913490" y="4179770"/>
            <a:ext cx="72241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й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хотхозяйственный реестр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505431" y="4677625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вал 15"/>
          <p:cNvSpPr/>
          <p:nvPr/>
        </p:nvSpPr>
        <p:spPr>
          <a:xfrm>
            <a:off x="539590" y="4947789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913490" y="4823346"/>
            <a:ext cx="76309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й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еестр объектов, оказывающих негативное воздействие на окружающую среду 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515591" y="5584008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вал 18"/>
          <p:cNvSpPr/>
          <p:nvPr/>
        </p:nvSpPr>
        <p:spPr>
          <a:xfrm>
            <a:off x="539590" y="5778556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903330" y="5764525"/>
            <a:ext cx="76309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й кадастр особо охраняемых природных территорий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539590" y="2009297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948686" y="1322187"/>
            <a:ext cx="76309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Банк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данных государственного мониторинга водных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бъектов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543429" y="1821626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/>
          <p:cNvSpPr/>
          <p:nvPr/>
        </p:nvSpPr>
        <p:spPr>
          <a:xfrm>
            <a:off x="539590" y="1340444"/>
            <a:ext cx="288000" cy="288000"/>
          </a:xfrm>
          <a:prstGeom prst="ellipse">
            <a:avLst/>
          </a:prstGeom>
          <a:solidFill>
            <a:srgbClr val="0056B4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/>
            <a:r>
              <a:rPr lang="uk-UA" sz="1600" dirty="0" smtClean="0">
                <a:sym typeface="Wingdings" panose="05000000000000000000" pitchFamily="2" charset="2"/>
              </a:rPr>
              <a:t></a:t>
            </a:r>
            <a:endParaRPr lang="uk-UA" sz="1600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948686" y="2009773"/>
            <a:ext cx="76309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0056B4"/>
              </a:buClr>
            </a:pP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й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ыбохозяйственный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еестр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27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795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pic>
        <p:nvPicPr>
          <p:cNvPr id="7" name="Рисунок 6" descr="Экология_02.jpg"/>
          <p:cNvPicPr>
            <a:picLocks noChangeAspect="1"/>
          </p:cNvPicPr>
          <p:nvPr/>
        </p:nvPicPr>
        <p:blipFill rotWithShape="1">
          <a:blip r:embed="rId2" cstate="print"/>
          <a:srcRect l="1962" t="19520" r="1176" b="7071"/>
          <a:stretch/>
        </p:blipFill>
        <p:spPr>
          <a:xfrm>
            <a:off x="179512" y="1340768"/>
            <a:ext cx="8856984" cy="504056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3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71600" y="188640"/>
            <a:ext cx="63579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Myriad Pro" panose="020B0503030403020204" pitchFamily="34" charset="0"/>
                <a:ea typeface="Open Sans" pitchFamily="34" charset="0"/>
                <a:cs typeface="Open Sans" pitchFamily="34" charset="0"/>
              </a:rPr>
              <a:t>ЗАКОНОДАТЕЛЬНЫЕ НОРМЫ</a:t>
            </a:r>
          </a:p>
        </p:txBody>
      </p:sp>
    </p:spTree>
    <p:extLst>
      <p:ext uri="{BB962C8B-B14F-4D97-AF65-F5344CB8AC3E}">
        <p14:creationId xmlns:p14="http://schemas.microsoft.com/office/powerpoint/2010/main" val="1087382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Текст 7"/>
          <p:cNvSpPr>
            <a:spLocks noGrp="1"/>
          </p:cNvSpPr>
          <p:nvPr>
            <p:ph type="body" sz="quarter" idx="11"/>
          </p:nvPr>
        </p:nvSpPr>
        <p:spPr bwMode="auto">
          <a:xfrm>
            <a:off x="8489950" y="6464300"/>
            <a:ext cx="431800" cy="2159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eaLnBrk="1" hangingPunct="1"/>
            <a:fld id="{957C09CB-BC41-4E61-B923-67342A6913B1}" type="slidenum">
              <a:rPr kumimoji="0" lang="ru-RU" smtClean="0">
                <a:cs typeface="Arial" charset="0"/>
              </a:rPr>
              <a:pPr eaLnBrk="1" hangingPunct="1"/>
              <a:t>4</a:t>
            </a:fld>
            <a:endParaRPr kumimoji="0" lang="ru-RU" dirty="0" smtClean="0">
              <a:cs typeface="Arial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971600" y="82652"/>
            <a:ext cx="63579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Myriad Pro" panose="020B0503030403020204" pitchFamily="34" charset="0"/>
                <a:ea typeface="Open Sans" pitchFamily="34" charset="0"/>
                <a:cs typeface="Open Sans" pitchFamily="34" charset="0"/>
              </a:rPr>
              <a:t>ВОСТРЕБОВАННОСТЬ ИНФОРМАЦИИ ОБ ЭКОЛОГИИ </a:t>
            </a:r>
            <a:br>
              <a:rPr lang="ru-RU" sz="1600" dirty="0" smtClean="0">
                <a:solidFill>
                  <a:schemeClr val="bg1"/>
                </a:solidFill>
                <a:latin typeface="Myriad Pro" panose="020B0503030403020204" pitchFamily="34" charset="0"/>
                <a:ea typeface="Open Sans" pitchFamily="34" charset="0"/>
                <a:cs typeface="Open Sans" pitchFamily="34" charset="0"/>
              </a:rPr>
            </a:br>
            <a:r>
              <a:rPr lang="ru-RU" sz="1600" dirty="0" smtClean="0">
                <a:solidFill>
                  <a:schemeClr val="bg1"/>
                </a:solidFill>
                <a:latin typeface="Myriad Pro" panose="020B0503030403020204" pitchFamily="34" charset="0"/>
                <a:ea typeface="Open Sans" pitchFamily="34" charset="0"/>
                <a:cs typeface="Open Sans" pitchFamily="34" charset="0"/>
              </a:rPr>
              <a:t>И ОХРАНЕ ОКРУЖАЮЩЕЙ СРЕДЫ</a:t>
            </a:r>
            <a:endParaRPr lang="ru-RU" sz="1600" dirty="0">
              <a:solidFill>
                <a:schemeClr val="bg1"/>
              </a:solidFill>
              <a:latin typeface="Myriad Pro" panose="020B0503030403020204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27" name="TextBox 26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4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79354"/>
            <a:ext cx="9144000" cy="509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116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6"/>
            <a:ext cx="9144000" cy="685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966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0544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Экология_04.jpg"/>
          <p:cNvPicPr>
            <a:picLocks noChangeAspect="1"/>
          </p:cNvPicPr>
          <p:nvPr/>
        </p:nvPicPr>
        <p:blipFill rotWithShape="1">
          <a:blip r:embed="rId2" cstate="print"/>
          <a:srcRect l="2750" t="17445" r="388" b="7994"/>
          <a:stretch/>
        </p:blipFill>
        <p:spPr>
          <a:xfrm>
            <a:off x="251520" y="1196752"/>
            <a:ext cx="8856984" cy="511256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rgbClr val="1D5F9C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7</a:t>
            </a:fld>
            <a:endParaRPr lang="ru-RU" sz="1400" dirty="0">
              <a:solidFill>
                <a:srgbClr val="1D5F9C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71600" y="188640"/>
            <a:ext cx="63579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Myriad Pro" panose="020B0503030403020204" pitchFamily="34" charset="0"/>
                <a:ea typeface="Open Sans" pitchFamily="34" charset="0"/>
                <a:cs typeface="Open Sans" pitchFamily="34" charset="0"/>
              </a:rPr>
              <a:t>ТЕКУЩАЯ СИТУАЦ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8296300" y="6473853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7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086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293896" y="2717336"/>
            <a:ext cx="638894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4086"/>
                </a:solidFill>
              </a:rPr>
              <a:t>II. </a:t>
            </a:r>
            <a:r>
              <a:rPr lang="ru-RU" sz="2400" b="1" dirty="0" smtClean="0">
                <a:solidFill>
                  <a:srgbClr val="004086"/>
                </a:solidFill>
              </a:rPr>
              <a:t>Анализ </a:t>
            </a:r>
            <a:r>
              <a:rPr lang="ru-RU" sz="2400" b="1" dirty="0">
                <a:solidFill>
                  <a:srgbClr val="004086"/>
                </a:solidFill>
              </a:rPr>
              <a:t>международного опыта в области создания систем экологического мониторинга и информирования о состоянии и охране окружающей среды</a:t>
            </a:r>
            <a:endParaRPr lang="uk-UA" sz="2400" b="1" dirty="0">
              <a:solidFill>
                <a:srgbClr val="004086"/>
              </a:solidFill>
            </a:endParaRPr>
          </a:p>
        </p:txBody>
      </p:sp>
      <p:sp>
        <p:nvSpPr>
          <p:cNvPr id="3" name="Номер слайда 2"/>
          <p:cNvSpPr txBox="1">
            <a:spLocks/>
          </p:cNvSpPr>
          <p:nvPr/>
        </p:nvSpPr>
        <p:spPr>
          <a:xfrm>
            <a:off x="7086600" y="641191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77784C0-E3CF-4AB1-AD59-B2545151144D}" type="slidenum">
              <a:rPr lang="uk-UA" smtClean="0"/>
              <a:pPr/>
              <a:t>8</a:t>
            </a:fld>
            <a:endParaRPr lang="uk-UA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5" name="Номер слайда 2"/>
          <p:cNvSpPr txBox="1">
            <a:spLocks/>
          </p:cNvSpPr>
          <p:nvPr/>
        </p:nvSpPr>
        <p:spPr>
          <a:xfrm>
            <a:off x="7083732" y="646942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B77784C0-E3CF-4AB1-AD59-B2545151144D}" type="slidenum">
              <a:rPr lang="uk-UA" smtClean="0"/>
              <a:pPr/>
              <a:t>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5744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980852" y="93504"/>
            <a:ext cx="7993062" cy="514350"/>
          </a:xfrm>
        </p:spPr>
        <p:txBody>
          <a:bodyPr>
            <a:noAutofit/>
          </a:bodyPr>
          <a:lstStyle/>
          <a:p>
            <a:r>
              <a:rPr lang="ru-RU" sz="1800" dirty="0"/>
              <a:t>Критерии выбора стран для анализа международного опыта в области создания систем экологического мониторинга и информирования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784C0-E3CF-4AB1-AD59-B2545151144D}" type="slidenum">
              <a:rPr lang="uk-UA" smtClean="0"/>
              <a:pPr/>
              <a:t>9</a:t>
            </a:fld>
            <a:endParaRPr lang="uk-UA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828800" y="1104601"/>
            <a:ext cx="64102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ысокий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ровень развития информационных технологий, поддерживающих процесс экологического мониторинга и информирования</a:t>
            </a:r>
            <a:endParaRPr lang="uk-UA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77457" y="2283556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1828800" y="2483420"/>
            <a:ext cx="64102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азвитие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гражданского общества, активно влияющего на обеспечение принципов прозрачности и доступности информации об экологии</a:t>
            </a:r>
            <a:endParaRPr lang="uk-UA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577457" y="3652153"/>
            <a:ext cx="8028000" cy="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1828800" y="3944770"/>
            <a:ext cx="64102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азработанность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бласти регулирования экологического мониторинга и информирования</a:t>
            </a:r>
            <a:endParaRPr lang="uk-UA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665" y="1147758"/>
            <a:ext cx="588362" cy="781319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86" y="2557981"/>
            <a:ext cx="722633" cy="709879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828" y="3897557"/>
            <a:ext cx="564035" cy="675607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0" y="6461185"/>
            <a:ext cx="9144000" cy="31055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Высшая школа экономики, Москва, 2018</a:t>
            </a:r>
            <a:endParaRPr lang="ru-RU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8143900" y="6433591"/>
            <a:ext cx="785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7EEED65-6232-4E4D-B232-22A69746141C}" type="slidenum">
              <a:rPr lang="en-US" sz="1400" smtClean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pPr algn="r"/>
              <a:t>9</a:t>
            </a:fld>
            <a:endParaRPr lang="ru-RU" sz="1400" dirty="0">
              <a:solidFill>
                <a:schemeClr val="bg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77457" y="5399008"/>
            <a:ext cx="8054449" cy="369332"/>
          </a:xfrm>
          <a:prstGeom prst="rect">
            <a:avLst/>
          </a:prstGeom>
          <a:solidFill>
            <a:srgbClr val="8F45C7">
              <a:alpha val="28000"/>
            </a:srgbClr>
          </a:solidFill>
        </p:spPr>
        <p:txBody>
          <a:bodyPr wrap="none" rtlCol="0">
            <a:spAutoFit/>
          </a:bodyPr>
          <a:lstStyle/>
          <a:p>
            <a:r>
              <a:rPr lang="ru-RU" b="1" dirty="0"/>
              <a:t>Был проанализирован опыт Великобритании, Канады и Австралии</a:t>
            </a:r>
            <a:r>
              <a:rPr lang="ru-RU" b="1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3106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797</TotalTime>
  <Words>1120</Words>
  <Application>Microsoft Office PowerPoint</Application>
  <PresentationFormat>Экран (4:3)</PresentationFormat>
  <Paragraphs>181</Paragraphs>
  <Slides>27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29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DNA Projec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NA7 X86</dc:creator>
  <cp:lastModifiedBy>User</cp:lastModifiedBy>
  <cp:revision>1940</cp:revision>
  <cp:lastPrinted>2018-01-17T16:39:42Z</cp:lastPrinted>
  <dcterms:created xsi:type="dcterms:W3CDTF">2012-03-10T12:53:28Z</dcterms:created>
  <dcterms:modified xsi:type="dcterms:W3CDTF">2018-04-05T14:01:24Z</dcterms:modified>
</cp:coreProperties>
</file>